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147375589" r:id="rId6"/>
    <p:sldId id="4848" r:id="rId7"/>
    <p:sldId id="2147375597" r:id="rId8"/>
    <p:sldId id="2147375623" r:id="rId9"/>
    <p:sldId id="2147375601" r:id="rId10"/>
    <p:sldId id="2147375602" r:id="rId11"/>
    <p:sldId id="2147375603" r:id="rId12"/>
    <p:sldId id="2147375604" r:id="rId13"/>
    <p:sldId id="2147375605" r:id="rId14"/>
    <p:sldId id="2147375610" r:id="rId15"/>
    <p:sldId id="2147375611" r:id="rId16"/>
    <p:sldId id="2147375612" r:id="rId17"/>
    <p:sldId id="2147375613" r:id="rId18"/>
    <p:sldId id="2147375614" r:id="rId19"/>
    <p:sldId id="163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Sunidhi Sing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How I feel Shell implements this learning:</a:t>
            </a:r>
          </a:p>
          <a:p>
            <a:pPr marL="0" indent="0">
              <a:buNone/>
            </a:pPr>
            <a:r>
              <a:rPr lang="en-US" sz="1800" dirty="0"/>
              <a:t>   Shell uses GitHub Actions to automate workflows like CI/CD pipelines, triggering them on repository events. They use YAML files to define these workflows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2. How I feel Shell benefits from this learning:</a:t>
            </a:r>
          </a:p>
          <a:p>
            <a:pPr marL="0" indent="0">
              <a:buNone/>
            </a:pPr>
            <a:r>
              <a:rPr lang="en-US" sz="1800" dirty="0"/>
              <a:t>   Shell benefits by automating tasks, speeding up development, and ensuring reliable CI/CD processes, which improves software quality and operational efficienc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5F02070-247C-601E-299D-2CE81B7B8E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04352" y="2743229"/>
            <a:ext cx="5943600" cy="227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Action Plan is to learn about automated testing like </a:t>
            </a:r>
            <a:r>
              <a:rPr lang="en-US" sz="2400" dirty="0" err="1"/>
              <a:t>testrigor</a:t>
            </a:r>
            <a:r>
              <a:rPr lang="en-US" sz="2400" dirty="0"/>
              <a:t> , explore selenium, learn how to create a docker image while implementing workflows using GitHub Action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Explore all the learnings for a week 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Still </a:t>
            </a:r>
            <a:r>
              <a:rPr lang="en-US" sz="2400" dirty="0" err="1"/>
              <a:t>persuing</a:t>
            </a:r>
            <a:endParaRPr lang="en-US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Learning was interspersed with fun games and activities and videos that helped us understand more effectively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4DE976-A4EF-10E4-A01F-6059EC7DCB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5544" y="2568225"/>
            <a:ext cx="4601217" cy="286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dirty="0"/>
              <a:t>1. Software Development and Testing: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   - Key Learning: Software is developed using the Software Development Life Cycle (SDLC), which includes phases like planning, designing, building, testing, and maintenance.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   - Key Takeaway: Software testing identifies bugs to ensure a defect-free and reliable solution. Testing should adapt to the chosen development model.</a:t>
            </a:r>
          </a:p>
          <a:p>
            <a:pPr>
              <a:lnSpc>
                <a:spcPct val="100000"/>
              </a:lnSpc>
            </a:pPr>
            <a:endParaRPr lang="en-US" sz="1200" dirty="0"/>
          </a:p>
          <a:p>
            <a:pPr>
              <a:lnSpc>
                <a:spcPct val="100000"/>
              </a:lnSpc>
            </a:pPr>
            <a:r>
              <a:rPr lang="en-US" sz="1200" dirty="0"/>
              <a:t>2. Test Automation: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   - Key Learning: It's important to decide which test cases to automate. 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   - Key Takeaway: Automate repetitive, tedious, time-consuming, and high-risk tasks. Avoid automating tasks with changing requirements, ad-hoc scenarios, and usability testing. Blackbox testing focuses on external attributes, while </a:t>
            </a:r>
            <a:r>
              <a:rPr lang="en-US" sz="1200" dirty="0" err="1"/>
              <a:t>whitebox</a:t>
            </a:r>
            <a:r>
              <a:rPr lang="en-US" sz="1200" dirty="0"/>
              <a:t> testing focuses on internal structures.</a:t>
            </a:r>
          </a:p>
          <a:p>
            <a:pPr>
              <a:lnSpc>
                <a:spcPct val="100000"/>
              </a:lnSpc>
            </a:pPr>
            <a:endParaRPr lang="en-US" sz="1200" dirty="0"/>
          </a:p>
          <a:p>
            <a:pPr>
              <a:lnSpc>
                <a:spcPct val="100000"/>
              </a:lnSpc>
            </a:pPr>
            <a:r>
              <a:rPr lang="en-US" sz="1200" dirty="0"/>
              <a:t>3. GitHub Actions: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   - Key Learning: GitHub Actions automates workflows, including CI/CD pipelines, and supports multiple operating systems. It uses YAML syntax to define workflows.</a:t>
            </a:r>
          </a:p>
          <a:p>
            <a:pPr>
              <a:lnSpc>
                <a:spcPct val="100000"/>
              </a:lnSpc>
            </a:pPr>
            <a:r>
              <a:rPr lang="en-US" sz="1200" dirty="0"/>
              <a:t>   - Key Takeaway: Workflows can be triggered by repository events like pull requests or issue creation. Components include workflows, events, jobs, actions, and runners.</a:t>
            </a:r>
          </a:p>
          <a:p>
            <a:pPr marL="457200" indent="-457200">
              <a:lnSpc>
                <a:spcPct val="10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A phrase that represents my motto in life is </a:t>
            </a:r>
            <a:r>
              <a:rPr lang="en-US" sz="2400" dirty="0"/>
              <a:t>Dream big, work hard, stay focused</a:t>
            </a: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2" descr="Person Climbing Stairs Vector Icon Design 20313466 Vector Art at Vecteezy">
            <a:extLst>
              <a:ext uri="{FF2B5EF4-FFF2-40B4-BE49-F238E27FC236}">
                <a16:creationId xmlns:a16="http://schemas.microsoft.com/office/drawing/2014/main" id="{2AA3C83B-9E7A-F98A-BD06-CE06D2954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720" y="2438400"/>
            <a:ext cx="2484120" cy="2484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2000" dirty="0"/>
              <a:t>Key learning- Software is a collection of instructions that enable the user to interact with a computer , or perform tasks and is developed with the help of SDLC.</a:t>
            </a:r>
          </a:p>
          <a:p>
            <a:r>
              <a:rPr lang="en-IN" sz="2000" dirty="0"/>
              <a:t>Key takeaway- Software Testing is an activity that helps in identifying bugs in a software system under development, in order to provide a defect-free and reliable solution to the customer.</a:t>
            </a:r>
          </a:p>
          <a:p>
            <a:r>
              <a:rPr lang="en-IN" sz="2000" dirty="0"/>
              <a:t>Testing is not a stand-alone activity, it has to adapt to the development model chosen for the project.</a:t>
            </a:r>
          </a:p>
          <a:p>
            <a:pPr marL="0" indent="0">
              <a:buNone/>
            </a:pPr>
            <a:endParaRPr lang="en-IN" sz="2000" dirty="0"/>
          </a:p>
          <a:p>
            <a:pPr marL="0" indent="0">
              <a:buNone/>
            </a:pPr>
            <a:endParaRPr lang="en-IN" sz="2000" dirty="0"/>
          </a:p>
          <a:p>
            <a:endParaRPr lang="en-IN" sz="2000" dirty="0"/>
          </a:p>
          <a:p>
            <a:pPr marL="0" indent="0">
              <a:buNone/>
            </a:pPr>
            <a:endParaRPr lang="en-IN" sz="2000" dirty="0"/>
          </a:p>
          <a:p>
            <a:endParaRPr lang="en-IN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diagram of a process&#10;&#10;Description automatically generated">
            <a:extLst>
              <a:ext uri="{FF2B5EF4-FFF2-40B4-BE49-F238E27FC236}">
                <a16:creationId xmlns:a16="http://schemas.microsoft.com/office/drawing/2014/main" id="{7B97B838-4192-471F-2DAE-BE235D3E670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888" y="2466308"/>
            <a:ext cx="5179940" cy="2865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Please share (in your own words) details of the learning.</a:t>
            </a:r>
          </a:p>
          <a:p>
            <a:r>
              <a:rPr lang="en-US" sz="1800" dirty="0"/>
              <a:t>Key learning – which test cases to automate and which test cases not to automate</a:t>
            </a:r>
          </a:p>
          <a:p>
            <a:r>
              <a:rPr lang="en-US" sz="1800" dirty="0"/>
              <a:t>Key takeaway – Repeated, tedious and difficult to perform, time consuming and high risk(Business Critical) tasks are the ones that need to be automated while changing requirement, ad-hoc and usability tasks are the ones that need not be automated.</a:t>
            </a:r>
          </a:p>
          <a:p>
            <a:r>
              <a:rPr lang="en-US" sz="1800" dirty="0"/>
              <a:t>Blackbox testing focuses on software’s external attributes and behavior while white box testing focuses on knowledge of internal data structures and architecture at the level of source code.</a:t>
            </a:r>
          </a:p>
          <a:p>
            <a:endParaRPr lang="en-US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DC6EBC-430E-B928-5E00-819EFC3082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4651" y="2470106"/>
            <a:ext cx="3562847" cy="255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79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Please share (in your own words) details of the learning.</a:t>
            </a:r>
          </a:p>
          <a:p>
            <a:r>
              <a:rPr lang="en-US" sz="1800" dirty="0"/>
              <a:t>Key learning – </a:t>
            </a:r>
            <a:r>
              <a:rPr lang="en-US" sz="1800" dirty="0" err="1"/>
              <a:t>Github</a:t>
            </a:r>
            <a:r>
              <a:rPr lang="en-US" sz="1800" dirty="0"/>
              <a:t> Actions automates different workflows including CI/CD pipelines, hosts VMs on multiple operating systems, and provides pre written CI templates.</a:t>
            </a:r>
          </a:p>
          <a:p>
            <a:r>
              <a:rPr lang="en-US" sz="1800" dirty="0"/>
              <a:t>Key takeaway – We can configure a GitHub Actions workflow to be triggered when an event occurs in our repository, such as a pull request being opened or an issue being created.</a:t>
            </a:r>
          </a:p>
          <a:p>
            <a:r>
              <a:rPr lang="en-US" sz="1800" dirty="0"/>
              <a:t>Components of GitHub Actions are workflows, events, jobs, actions and runners. GitHub Actions uses YAML syntax to define the workflow and each workflow is stored as a separate YAML file in our repository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BF8833-C8BD-BA95-61BB-121BF3F2AB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1297" y="2269459"/>
            <a:ext cx="5009849" cy="3332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1. How I feel Shell implements this learning:</a:t>
            </a:r>
          </a:p>
          <a:p>
            <a:pPr marL="0" indent="0">
              <a:buNone/>
            </a:pPr>
            <a:r>
              <a:rPr lang="en-US" sz="2000" dirty="0"/>
              <a:t>   Shell uses the SDLC to create efficient software, ensuring high quality by following structured phases and adapting testing to the development model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2. How I feel Shell benefits from this learning:</a:t>
            </a:r>
          </a:p>
          <a:p>
            <a:pPr marL="0" indent="0">
              <a:buNone/>
            </a:pPr>
            <a:r>
              <a:rPr lang="en-US" sz="2000" dirty="0"/>
              <a:t>   Shell delivers reliable software, enhancing customer satisfaction and its reputation. This approach also strengthens stakeholder relationships, boosts employee morale, and supports long-term sustainabilit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BC31530-5172-1E38-0661-F4D6EBF086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48428" y="1860993"/>
            <a:ext cx="4979367" cy="374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1. How I feel Shell implements this learning:</a:t>
            </a:r>
            <a:br>
              <a:rPr lang="en-US" sz="1800" dirty="0"/>
            </a:br>
            <a:r>
              <a:rPr lang="en-US" sz="1800" dirty="0"/>
              <a:t>Shell likely automates test cases that are repetitive, tedious, time-consuming, and high-risk to ensure efficiency and reliability. They avoid automating tasks with changing requirements, ad-hoc scenarios, and usability testing. By using both </a:t>
            </a:r>
            <a:r>
              <a:rPr lang="en-US" sz="1800" dirty="0" err="1"/>
              <a:t>blackbox</a:t>
            </a:r>
            <a:r>
              <a:rPr lang="en-US" sz="1800" dirty="0"/>
              <a:t> and </a:t>
            </a:r>
            <a:r>
              <a:rPr lang="en-US" sz="1800" dirty="0" err="1"/>
              <a:t>whitebox</a:t>
            </a:r>
            <a:r>
              <a:rPr lang="en-US" sz="1800" dirty="0"/>
              <a:t> testing, Shell ensures comprehensive coverage of both external behavior and internal structures of their software.</a:t>
            </a:r>
          </a:p>
          <a:p>
            <a:pPr marL="0" indent="0">
              <a:buNone/>
            </a:pPr>
            <a:r>
              <a:rPr lang="en-US" sz="1800" dirty="0"/>
              <a:t>2. How I feel Shell benefits from this </a:t>
            </a:r>
            <a:r>
              <a:rPr lang="en-US" sz="1800" dirty="0" err="1"/>
              <a:t>learning:Shell</a:t>
            </a:r>
            <a:r>
              <a:rPr lang="en-US" sz="1800" dirty="0"/>
              <a:t> benefits by improving testing efficiency and accuracy, reducing manual effort, and minimizing risks in critical areas. This approach ensures high-quality software delivery, enhances customer satisfaction, and maintains Shell's reputation for reliability and professionalism.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B070EB5-3FBD-C88A-D038-1E15B2D0EB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8279" y="2586993"/>
            <a:ext cx="5515745" cy="281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56</TotalTime>
  <Words>941</Words>
  <Application>Microsoft Office PowerPoint</Application>
  <PresentationFormat>Widescreen</PresentationFormat>
  <Paragraphs>77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ingh, Sunidhi SBOBNG-PTIY/AGA</cp:lastModifiedBy>
  <cp:revision>524</cp:revision>
  <dcterms:created xsi:type="dcterms:W3CDTF">2022-01-18T12:35:56Z</dcterms:created>
  <dcterms:modified xsi:type="dcterms:W3CDTF">2024-09-06T15:5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